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custDataLst>
    <p:tags r:id="rId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407367859049655E-3"/>
          <c:y val="1.6855753646677473E-2"/>
          <c:w val="0.98611852642819009"/>
          <c:h val="0.966288492706645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29411765</c:v>
                </c:pt>
                <c:pt idx="1">
                  <c:v>102500000</c:v>
                </c:pt>
                <c:pt idx="2">
                  <c:v>119230769</c:v>
                </c:pt>
                <c:pt idx="3">
                  <c:v>122000000</c:v>
                </c:pt>
                <c:pt idx="4">
                  <c:v>127000000</c:v>
                </c:pt>
                <c:pt idx="5">
                  <c:v>130526316</c:v>
                </c:pt>
                <c:pt idx="6">
                  <c:v>138387097</c:v>
                </c:pt>
                <c:pt idx="7">
                  <c:v>125769231</c:v>
                </c:pt>
                <c:pt idx="8">
                  <c:v>117500000</c:v>
                </c:pt>
                <c:pt idx="9">
                  <c:v>130789474</c:v>
                </c:pt>
                <c:pt idx="10">
                  <c:v>138888889</c:v>
                </c:pt>
                <c:pt idx="11">
                  <c:v>141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3467312"/>
        <c:axId val="913467856"/>
      </c:barChart>
      <c:catAx>
        <c:axId val="913467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13467856"/>
        <c:crosses val="min"/>
        <c:auto val="0"/>
        <c:lblAlgn val="ctr"/>
        <c:lblOffset val="100"/>
        <c:noMultiLvlLbl val="0"/>
      </c:catAx>
      <c:valAx>
        <c:axId val="913467856"/>
        <c:scaling>
          <c:orientation val="minMax"/>
          <c:max val="141666667"/>
          <c:min val="8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913467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2798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0096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901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960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9855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629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709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661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0731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4188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8460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9359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267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chart" Target="../charts/chart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30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29" imgW="425" imgH="424" progId="TCLayout.ActiveDocument.1">
                  <p:embed/>
                </p:oleObj>
              </mc:Choice>
              <mc:Fallback>
                <p:oleObj name="think-cell Slide" r:id="rId2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5" name="Chart 254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1094408"/>
              </p:ext>
            </p:extLst>
          </p:nvPr>
        </p:nvGraphicFramePr>
        <p:xfrm>
          <a:off x="103188" y="1235075"/>
          <a:ext cx="11893550" cy="4897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8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07988" y="61087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BB2EFE-5C25-498A-801F-FE2186782CBD}" type="datetime'J''a''n''''''''e''''''i''''''''''''''''''r''''''o'''''''''">
              <a:rPr lang="pt-BR" altLang="en-US" sz="1400" smtClean="0"/>
              <a:pPr/>
              <a:t>Janeiro</a:t>
            </a:fld>
            <a:endParaRPr lang="pt-BR" sz="1400" dirty="0"/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06513" y="6108700"/>
            <a:ext cx="688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FC34F0-47EF-40C4-A703-62DFD3D38D4B}" type="datetime'F''''ev''''''''''''''''er''''''''''''''''e''''i''''''r''''o'">
              <a:rPr lang="pt-BR" altLang="en-US" sz="1400" smtClean="0"/>
              <a:pPr/>
              <a:t>Fevereiro</a:t>
            </a:fld>
            <a:endParaRPr lang="pt-BR" sz="1400" dirty="0"/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89188" y="6108700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79B22-0D19-4CF5-A71C-196E42199CB6}" type="datetime'''''''M''''''''''''''a''''r''''''''''''''''''ço'''''''''''">
              <a:rPr lang="pt-BR" altLang="en-US" sz="1400" smtClean="0"/>
              <a:pPr/>
              <a:t>Março</a:t>
            </a:fld>
            <a:endParaRPr lang="pt-BR" sz="1400" dirty="0"/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29000" y="6108700"/>
            <a:ext cx="354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370C6D-EEF9-4055-9777-07BCF1E8487B}" type="datetime'''''''''A''''b''''''''''''''''r''''i''l'''''''''''">
              <a:rPr lang="pt-BR" altLang="en-US" sz="1400" smtClean="0"/>
              <a:pPr/>
              <a:t>Abril</a:t>
            </a:fld>
            <a:endParaRPr lang="pt-BR" sz="1400" dirty="0"/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391025" y="6108700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49858-7ED9-490C-8E47-3100510EA09B}" type="datetime'''''''''''''''''''''''''''Ma''''i''''''o'''''''''''''">
              <a:rPr lang="pt-BR" altLang="en-US" sz="1400" smtClean="0"/>
              <a:pPr/>
              <a:t>Maio</a:t>
            </a:fld>
            <a:endParaRPr lang="pt-BR" sz="1400" dirty="0"/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37175" y="6108700"/>
            <a:ext cx="444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BAA85-6EAF-4C6E-A9BF-E71839C08D1A}" type="datetime'''''''J''u''''''''''''''''''n''''h''''''''''''''''''''o'''">
              <a:rPr lang="pt-BR" altLang="en-US" sz="1400" smtClean="0"/>
              <a:pPr/>
              <a:t>Junho</a:t>
            </a:fld>
            <a:endParaRPr lang="pt-BR" sz="1400" dirty="0"/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42063" y="610870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CF42C0-A3F7-4473-B2F4-268AD7A61FC8}" type="datetime'Ju''''''''''''''lh''''''''''''''o'''''''''''''''">
              <a:rPr lang="pt-BR" altLang="en-US" sz="1400" smtClean="0"/>
              <a:pPr/>
              <a:t>Julho</a:t>
            </a:fld>
            <a:endParaRPr lang="pt-BR" sz="1400" dirty="0"/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259638" y="61087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8FBCC-1F22-4C5B-AFE7-2712F4C20DB1}" type="datetime'A''g''''''o''''''''''''''''''s''''''''''t''o'''''''''">
              <a:rPr lang="pt-BR" altLang="en-US" sz="1400" smtClean="0"/>
              <a:pPr/>
              <a:t>Agosto</a:t>
            </a:fld>
            <a:endParaRPr lang="pt-BR" sz="1400" dirty="0"/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34350" y="61087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4F4F2-B332-4309-99C5-347826923E53}" type="datetime'''''''''S''''''''''''''''''''''e''t''''e''mbro'''">
              <a:rPr lang="pt-BR" altLang="en-US" sz="1400" smtClean="0"/>
              <a:pPr/>
              <a:t>Setembro</a:t>
            </a:fld>
            <a:endParaRPr lang="pt-BR" sz="1400" dirty="0"/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58288" y="6108700"/>
            <a:ext cx="623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8D1FC9-0253-4F5A-B25C-3D1A174E0B0B}" type="datetime'''''''''''''''O''utu''''''''''b''''''''''''''''''r''''o'''">
              <a:rPr lang="pt-BR" altLang="en-US" sz="1400" smtClean="0"/>
              <a:pPr/>
              <a:t>Outubro</a:t>
            </a:fld>
            <a:endParaRPr lang="pt-BR" sz="1400" dirty="0"/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059988" y="6108700"/>
            <a:ext cx="776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3852D-877B-4BEF-881C-CAFC6B7DF414}" type="datetime'''N''''o''''''''''''v''''''e''m''''b''''r''''o'''''''''''''''">
              <a:rPr lang="pt-BR" altLang="en-US" sz="1400" smtClean="0"/>
              <a:pPr/>
              <a:t>Novembro</a:t>
            </a:fld>
            <a:endParaRPr lang="pt-BR" sz="1400" dirty="0"/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047413" y="6108700"/>
            <a:ext cx="752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A2DC90-262B-45A2-93A8-331185929421}" type="datetime'''D''''''''''''e''''''''ze''''m''''''''''''''b''''''r''''o'">
              <a:rPr lang="pt-BR" altLang="en-US" sz="1400" smtClean="0"/>
              <a:pPr/>
              <a:t>Dezembro</a:t>
            </a:fld>
            <a:endParaRPr lang="pt-BR" sz="1400" dirty="0"/>
          </a:p>
        </p:txBody>
      </p:sp>
      <p:sp>
        <p:nvSpPr>
          <p:cNvPr id="18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27038" y="20399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77500C-F61F-493E-829C-ED96B223D086}" type="datetime'''''''''''1''''''''''''''2''''''''''''''''''''9,''''''4'''">
              <a:rPr lang="pt-BR" altLang="en-US" sz="1400" smtClean="0">
                <a:latin typeface="Montserrat" panose="020B0604020202020204" charset="0"/>
              </a:rPr>
              <a:pPr/>
              <a:t>129,4</a:t>
            </a:fld>
            <a:endParaRPr lang="pt-BR" sz="1400" dirty="0">
              <a:latin typeface="Montserrat" panose="020B0604020202020204" charset="0"/>
            </a:endParaRPr>
          </a:p>
        </p:txBody>
      </p:sp>
      <p:sp>
        <p:nvSpPr>
          <p:cNvPr id="19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422400" y="41052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9D3E84-150C-4FDD-8BC4-9D98A3CD6F7B}" type="datetime'''''''''''''''''''''''''''''''''''1''''''''''''''''02'''',5'">
              <a:rPr lang="pt-BR" altLang="en-US" sz="1400" smtClean="0"/>
              <a:pPr/>
              <a:t>102,5</a:t>
            </a:fld>
            <a:endParaRPr lang="pt-BR" sz="1400" dirty="0"/>
          </a:p>
        </p:txBody>
      </p:sp>
      <p:sp>
        <p:nvSpPr>
          <p:cNvPr id="19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98713" y="2822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9F172E-486D-4ECE-8CDF-3B03EA593514}" type="datetime'''''''''''''11''''''9,''''''2'">
              <a:rPr lang="pt-BR" altLang="en-US" sz="1400" smtClean="0"/>
              <a:pPr/>
              <a:t>119,2</a:t>
            </a:fld>
            <a:endParaRPr lang="pt-BR" sz="1400" dirty="0"/>
          </a:p>
        </p:txBody>
      </p:sp>
      <p:sp>
        <p:nvSpPr>
          <p:cNvPr id="19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376613" y="26098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8112A4-496A-49A1-ACC2-A348399EAFD7}" type="datetime'''''''''''1''''''''''2''2'''''''''''',''''''''''''''0'''">
              <a:rPr lang="pt-BR" altLang="en-US" sz="1400" smtClean="0"/>
              <a:pPr/>
              <a:t>122,0</a:t>
            </a:fld>
            <a:endParaRPr lang="pt-BR" sz="1400" dirty="0"/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54513" y="22256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B2814F-C4A1-48CA-9FBB-CBBC5CCAF6C9}" type="datetime'''''1''''''2''''''''''''''''7'''''''''''',''''''0'''''''''''">
              <a:rPr lang="pt-BR" altLang="en-US" sz="1400" smtClean="0"/>
              <a:pPr/>
              <a:t>127,0</a:t>
            </a:fld>
            <a:endParaRPr lang="pt-BR" sz="1400" dirty="0"/>
          </a:p>
        </p:txBody>
      </p:sp>
      <p:sp>
        <p:nvSpPr>
          <p:cNvPr id="19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30825" y="19558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A0A765-6398-4321-98BE-F3EEBFFDB951}" type="datetime'''''''''''''1''''''''''''''3''''''''''0'''',''''''''''''''''5'">
              <a:rPr lang="pt-BR" altLang="en-US" sz="1400" smtClean="0"/>
              <a:pPr/>
              <a:t>130,5</a:t>
            </a:fld>
            <a:endParaRPr lang="pt-BR" sz="1400" dirty="0"/>
          </a:p>
        </p:txBody>
      </p:sp>
      <p:sp>
        <p:nvSpPr>
          <p:cNvPr id="19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08725" y="13525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5A7CA6-0CC3-47C8-A6E8-D3E8DBF1811B}" type="datetime'1''''''3''''''''''''''''''''''''''''8,''''''''''''''''4'''">
              <a:rPr lang="pt-BR" altLang="en-US" sz="1400" smtClean="0"/>
              <a:pPr/>
              <a:t>138,4</a:t>
            </a:fld>
            <a:endParaRPr lang="pt-BR" sz="1400" dirty="0"/>
          </a:p>
        </p:txBody>
      </p:sp>
      <p:sp>
        <p:nvSpPr>
          <p:cNvPr id="19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286625" y="2319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B3ED33-9323-4675-A643-C0EF27452B0F}" type="datetime'1''''''''''''''''''''''''''''2''''''''5'''''''''''''',''8'">
              <a:rPr lang="pt-BR" altLang="en-US" sz="1400" smtClean="0"/>
              <a:pPr/>
              <a:t>125,8</a:t>
            </a:fld>
            <a:endParaRPr lang="pt-BR" sz="1400" dirty="0"/>
          </a:p>
        </p:txBody>
      </p:sp>
      <p:sp>
        <p:nvSpPr>
          <p:cNvPr id="20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262938" y="2954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E0D679-3A4E-460B-8680-00570948982E}" type="datetime'''1''''1''7'''',5'''''''''''''''''''">
              <a:rPr lang="pt-BR" altLang="en-US" sz="1400" smtClean="0"/>
              <a:pPr/>
              <a:t>117,5</a:t>
            </a:fld>
            <a:endParaRPr lang="pt-BR" sz="1400" dirty="0"/>
          </a:p>
        </p:txBody>
      </p:sp>
      <p:sp>
        <p:nvSpPr>
          <p:cNvPr id="20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240838" y="19351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A6FA7E-C917-41B3-993B-F41DDE54535E}" type="datetime'''''1''3''''''''''''0'',''''''''''''''''''''8'''''''''''''">
              <a:rPr lang="pt-BR" altLang="en-US" sz="1400" smtClean="0"/>
              <a:pPr/>
              <a:t>130,8</a:t>
            </a:fld>
            <a:endParaRPr lang="pt-BR" sz="1400" dirty="0"/>
          </a:p>
        </p:txBody>
      </p:sp>
      <p:sp>
        <p:nvSpPr>
          <p:cNvPr id="20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218738" y="13128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39B063-4968-44EC-9AAD-7DC8DC130A46}" type="datetime'''''''''''''''''''''''''''''''''''''1''''38'',''''''''''''''9'">
              <a:rPr lang="pt-BR" altLang="en-US" sz="1400" smtClean="0"/>
              <a:pPr/>
              <a:t>138,9</a:t>
            </a:fld>
            <a:endParaRPr lang="pt-BR" sz="1400" dirty="0"/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195050" y="11001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EDC8CB-7922-483D-AA9E-19F44FDD9A0E}" type="datetime'''''''1''4''''''''1'''',''''''''''''''7'''''">
              <a:rPr lang="pt-BR" altLang="en-US" sz="1400" smtClean="0"/>
              <a:pPr/>
              <a:t>141,7</a:t>
            </a:fld>
            <a:endParaRPr lang="pt-BR" sz="1400" dirty="0"/>
          </a:p>
        </p:txBody>
      </p:sp>
      <p:sp>
        <p:nvSpPr>
          <p:cNvPr id="235" name="Google Shape;194;p6"/>
          <p:cNvSpPr txBox="1"/>
          <p:nvPr/>
        </p:nvSpPr>
        <p:spPr>
          <a:xfrm>
            <a:off x="-1010" y="157290"/>
            <a:ext cx="11915919" cy="4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inha possuí os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enores preços 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m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Fevereir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e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etembt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, meses validados com fatores geográficos</a:t>
            </a:r>
            <a:endParaRPr sz="200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236" name="Google Shape;195;p6"/>
          <p:cNvCxnSpPr/>
          <p:nvPr/>
        </p:nvCxnSpPr>
        <p:spPr>
          <a:xfrm>
            <a:off x="4762" y="717799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7" name="Google Shape;197;p6"/>
          <p:cNvSpPr txBox="1"/>
          <p:nvPr/>
        </p:nvSpPr>
        <p:spPr>
          <a:xfrm>
            <a:off x="0" y="717799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pt-BR" sz="1600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Média dos preços por mês</a:t>
            </a:r>
            <a:endParaRPr sz="1600" b="1" i="0" u="none" strike="noStrike" cap="none" dirty="0">
              <a:solidFill>
                <a:srgbClr val="000000"/>
              </a:solidFill>
              <a:latin typeface="Hammersmith One"/>
              <a:ea typeface="Hammersmith One"/>
              <a:cs typeface="Hammersmith One"/>
              <a:sym typeface="Hammersmith One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248" name="Google Shape;206;p7"/>
          <p:cNvSpPr txBox="1"/>
          <p:nvPr/>
        </p:nvSpPr>
        <p:spPr>
          <a:xfrm>
            <a:off x="40713" y="63112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278120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53899999999999992362E+00&quot;&gt;&lt;m_msothmcolidx val=&quot;0&quot;/&gt;&lt;m_rgb r=&quot;FA&quot; g=&quot;D4&quot; b=&quot;19&quot;/&gt;&lt;/elem&gt;&lt;elem m_fUsage=&quot;1.00000000000000000000E+00&quot;&gt;&lt;m_msothmcolidx val=&quot;0&quot;/&gt;&lt;m_rgb r=&quot;65&quot; g=&quot;56&quot; b=&quot;1E&quot;/&gt;&lt;/elem&gt;&lt;elem m_fUsage=&quot;9.00000000000000022204E-01&quot;&gt;&lt;m_msothmcolidx val=&quot;0&quot;/&gt;&lt;m_rgb r=&quot;FF&quot; g=&quot;E0&quot; b=&quot;6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vW7kPQPEbsY1xtD5d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3vI.x_.fToNi6NRvSY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8aXDDwJz_Skuw2DgJ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wWr7Ok3mnJgBz_Si8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ErYfkZdfOOlXQdUXJ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3Vfg1VUn51GLoJFFz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0n4EmkCMGkO7HPGA.5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EGzwyKqac3Q6rWiS1F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PpY8vm1QB0tYlDect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9CrQFNntD.S.PwpNes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GecSGPyafN9QGFCLq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MXdq7zQIHzK4GfHi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4Il1fNJBzvYuTPqrw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9MWJiB_OnehjJEgKlJ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Yq4T6e.yLrZeJHgGj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4.B8fSO.7jt7lpP7Y_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_dHg2rIbI_E7BHUFH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YZUO60B8R2.69vcWNB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HvAJx3oodSKfBgr2WN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3NMJI.0RmiqDGNfQA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nFtMtfmZeAoN0FYDB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la6MSS6lVFOdpaB1g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Q2lQ2_7xsNR8m2SNi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Jcg3jo.x1MQhXZ1vl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GHV9Sc_9aXKYZs5MRNM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50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Hammersmith One</vt:lpstr>
      <vt:lpstr>Montserra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4</cp:revision>
  <dcterms:created xsi:type="dcterms:W3CDTF">2024-09-03T19:20:31Z</dcterms:created>
  <dcterms:modified xsi:type="dcterms:W3CDTF">2024-09-03T19:48:41Z</dcterms:modified>
</cp:coreProperties>
</file>